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4" r:id="rId1"/>
  </p:sldMasterIdLst>
  <p:notesMasterIdLst>
    <p:notesMasterId r:id="rId4"/>
  </p:notesMasterIdLst>
  <p:sldIdLst>
    <p:sldId id="323" r:id="rId2"/>
    <p:sldId id="322" r:id="rId3"/>
  </p:sldIdLst>
  <p:sldSz cx="9144000" cy="6858000" type="screen4x3"/>
  <p:notesSz cx="6950075" cy="92360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92539" autoAdjust="0"/>
  </p:normalViewPr>
  <p:slideViewPr>
    <p:cSldViewPr snapToGrid="0">
      <p:cViewPr>
        <p:scale>
          <a:sx n="91" d="100"/>
          <a:sy n="91" d="100"/>
        </p:scale>
        <p:origin x="-1238" y="293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BF5EE376-7D2D-4680-AB3B-0C7354C9BE3E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0" y="1154113"/>
            <a:ext cx="4156075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75F5DF12-E124-401C-B503-3476B2BB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6084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9038" y="254000"/>
            <a:ext cx="4616450" cy="3462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" y="3831090"/>
            <a:ext cx="6830291" cy="4753761"/>
          </a:xfrm>
        </p:spPr>
        <p:txBody>
          <a:bodyPr>
            <a:noAutofit/>
          </a:bodyPr>
          <a:lstStyle/>
          <a:p>
            <a:pPr defTabSz="874850">
              <a:defRPr/>
            </a:pPr>
            <a:endParaRPr lang="en-US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F66034-E80D-420C-8E02-F57C99342635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2588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28600" y="228600"/>
            <a:ext cx="8695944" cy="603504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9"/>
          <p:cNvGrpSpPr>
            <a:grpSpLocks noChangeAspect="1"/>
          </p:cNvGrpSpPr>
          <p:nvPr/>
        </p:nvGrpSpPr>
        <p:grpSpPr bwMode="hidden">
          <a:xfrm>
            <a:off x="211665" y="5353963"/>
            <a:ext cx="8723376" cy="1331580"/>
            <a:chOff x="-3905250" y="4294188"/>
            <a:chExt cx="13011150" cy="1892300"/>
          </a:xfrm>
        </p:grpSpPr>
        <p:sp>
          <p:nvSpPr>
            <p:cNvPr id="11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5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0200"/>
            <a:ext cx="7772400" cy="1780108"/>
          </a:xfrm>
        </p:spPr>
        <p:txBody>
          <a:bodyPr anchor="b">
            <a:normAutofit/>
          </a:bodyPr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556001"/>
            <a:ext cx="6400800" cy="14732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23F103-BC34-4FE4-A40E-EDDEECFDA5D0}" type="datetimeFigureOut">
              <a:rPr lang="en-US" smtClean="0"/>
              <a:pPr/>
              <a:t>9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6D93-FCAC-47E0-A2EE-787E62CA814C}" type="datetimeFigureOut">
              <a:rPr lang="en-US" smtClean="0"/>
              <a:t>9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0"/>
          <p:cNvSpPr/>
          <p:nvPr/>
        </p:nvSpPr>
        <p:spPr bwMode="hidden"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879A6-0FD0-4734-A311-86BFCA472E6E}" type="datetimeFigureOut">
              <a:rPr lang="en-US" smtClean="0"/>
              <a:t>9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31580"/>
            <a:chOff x="-3905250" y="4294188"/>
            <a:chExt cx="13011150" cy="1892300"/>
          </a:xfrm>
        </p:grpSpPr>
        <p:sp>
          <p:nvSpPr>
            <p:cNvPr id="16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0" name="Freeform 19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447800"/>
            <a:ext cx="2057400" cy="4487333"/>
          </a:xfrm>
        </p:spPr>
        <p:txBody>
          <a:bodyPr vert="eaVert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47800"/>
            <a:ext cx="6019800" cy="4487334"/>
          </a:xfrm>
        </p:spPr>
        <p:txBody>
          <a:bodyPr vert="eaVert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3" name="Rectangle 17"/>
          <p:cNvSpPr>
            <a:spLocks noChangeArrowheads="1"/>
          </p:cNvSpPr>
          <p:nvPr userDrawn="1"/>
        </p:nvSpPr>
        <p:spPr bwMode="auto">
          <a:xfrm>
            <a:off x="8433550" y="-630"/>
            <a:ext cx="71045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+mj-lt"/>
              </a:rPr>
              <a:t>FSG.ORG</a:t>
            </a:r>
            <a:endParaRPr lang="en-US" sz="1100" b="1" dirty="0">
              <a:latin typeface="+mj-lt"/>
            </a:endParaRPr>
          </a:p>
        </p:txBody>
      </p:sp>
      <p:sp>
        <p:nvSpPr>
          <p:cNvPr id="8" name="Rectangle 12"/>
          <p:cNvSpPr>
            <a:spLocks noChangeArrowheads="1"/>
          </p:cNvSpPr>
          <p:nvPr userDrawn="1"/>
        </p:nvSpPr>
        <p:spPr bwMode="auto">
          <a:xfrm>
            <a:off x="8671915" y="6477002"/>
            <a:ext cx="333426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chemeClr val="accent2">
                    <a:lumMod val="75000"/>
                  </a:schemeClr>
                </a:solidFill>
                <a:latin typeface="+mj-lt"/>
              </a:rPr>
              <a:pPr algn="ctr" eaLnBrk="0" hangingPunct="0"/>
              <a:t>‹#›</a:t>
            </a:fld>
            <a:endParaRPr lang="en-US" sz="1000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89361" y="6675901"/>
            <a:ext cx="554640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© </a:t>
            </a:r>
            <a:r>
              <a:rPr lang="en-US" sz="600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2014 </a:t>
            </a:r>
            <a:r>
              <a:rPr lang="en-US" sz="60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36569326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9CA7B-DFD4-44B5-8C60-D14B8CD1FB59}" type="datetimeFigureOut">
              <a:rPr lang="en-US" smtClean="0"/>
              <a:t>9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228600"/>
            <a:ext cx="8695944" cy="4736592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>
            <a:spLocks/>
          </p:cNvSpPr>
          <p:nvPr/>
        </p:nvSpPr>
        <p:spPr bwMode="hidden">
          <a:xfrm>
            <a:off x="6047438" y="4203592"/>
            <a:ext cx="2876429" cy="714026"/>
          </a:xfrm>
          <a:custGeom>
            <a:avLst/>
            <a:gdLst/>
            <a:ahLst/>
            <a:cxnLst>
              <a:cxn ang="0">
                <a:pos x="2700" y="0"/>
              </a:cxn>
              <a:cxn ang="0">
                <a:pos x="2700" y="0"/>
              </a:cxn>
              <a:cxn ang="0">
                <a:pos x="2586" y="18"/>
              </a:cxn>
              <a:cxn ang="0">
                <a:pos x="2470" y="38"/>
              </a:cxn>
              <a:cxn ang="0">
                <a:pos x="2352" y="60"/>
              </a:cxn>
              <a:cxn ang="0">
                <a:pos x="2230" y="82"/>
              </a:cxn>
              <a:cxn ang="0">
                <a:pos x="2106" y="108"/>
              </a:cxn>
              <a:cxn ang="0">
                <a:pos x="1978" y="134"/>
              </a:cxn>
              <a:cxn ang="0">
                <a:pos x="1848" y="164"/>
              </a:cxn>
              <a:cxn ang="0">
                <a:pos x="1714" y="194"/>
              </a:cxn>
              <a:cxn ang="0">
                <a:pos x="1714" y="194"/>
              </a:cxn>
              <a:cxn ang="0">
                <a:pos x="1472" y="252"/>
              </a:cxn>
              <a:cxn ang="0">
                <a:pos x="1236" y="304"/>
              </a:cxn>
              <a:cxn ang="0">
                <a:pos x="1010" y="352"/>
              </a:cxn>
              <a:cxn ang="0">
                <a:pos x="792" y="398"/>
              </a:cxn>
              <a:cxn ang="0">
                <a:pos x="584" y="438"/>
              </a:cxn>
              <a:cxn ang="0">
                <a:pos x="382" y="474"/>
              </a:cxn>
              <a:cxn ang="0">
                <a:pos x="188" y="508"/>
              </a:cxn>
              <a:cxn ang="0">
                <a:pos x="0" y="538"/>
              </a:cxn>
              <a:cxn ang="0">
                <a:pos x="0" y="538"/>
              </a:cxn>
              <a:cxn ang="0">
                <a:pos x="130" y="556"/>
              </a:cxn>
              <a:cxn ang="0">
                <a:pos x="254" y="572"/>
              </a:cxn>
              <a:cxn ang="0">
                <a:pos x="374" y="586"/>
              </a:cxn>
              <a:cxn ang="0">
                <a:pos x="492" y="598"/>
              </a:cxn>
              <a:cxn ang="0">
                <a:pos x="606" y="610"/>
              </a:cxn>
              <a:cxn ang="0">
                <a:pos x="716" y="618"/>
              </a:cxn>
              <a:cxn ang="0">
                <a:pos x="822" y="626"/>
              </a:cxn>
              <a:cxn ang="0">
                <a:pos x="926" y="632"/>
              </a:cxn>
              <a:cxn ang="0">
                <a:pos x="1028" y="636"/>
              </a:cxn>
              <a:cxn ang="0">
                <a:pos x="1126" y="638"/>
              </a:cxn>
              <a:cxn ang="0">
                <a:pos x="1220" y="640"/>
              </a:cxn>
              <a:cxn ang="0">
                <a:pos x="1312" y="640"/>
              </a:cxn>
              <a:cxn ang="0">
                <a:pos x="1402" y="638"/>
              </a:cxn>
              <a:cxn ang="0">
                <a:pos x="1490" y="636"/>
              </a:cxn>
              <a:cxn ang="0">
                <a:pos x="1574" y="632"/>
              </a:cxn>
              <a:cxn ang="0">
                <a:pos x="1656" y="626"/>
              </a:cxn>
              <a:cxn ang="0">
                <a:pos x="1734" y="620"/>
              </a:cxn>
              <a:cxn ang="0">
                <a:pos x="1812" y="612"/>
              </a:cxn>
              <a:cxn ang="0">
                <a:pos x="1886" y="602"/>
              </a:cxn>
              <a:cxn ang="0">
                <a:pos x="1960" y="592"/>
              </a:cxn>
              <a:cxn ang="0">
                <a:pos x="2030" y="580"/>
              </a:cxn>
              <a:cxn ang="0">
                <a:pos x="2100" y="568"/>
              </a:cxn>
              <a:cxn ang="0">
                <a:pos x="2166" y="554"/>
              </a:cxn>
              <a:cxn ang="0">
                <a:pos x="2232" y="540"/>
              </a:cxn>
              <a:cxn ang="0">
                <a:pos x="2296" y="524"/>
              </a:cxn>
              <a:cxn ang="0">
                <a:pos x="2358" y="508"/>
              </a:cxn>
              <a:cxn ang="0">
                <a:pos x="2418" y="490"/>
              </a:cxn>
              <a:cxn ang="0">
                <a:pos x="2478" y="472"/>
              </a:cxn>
              <a:cxn ang="0">
                <a:pos x="2592" y="432"/>
              </a:cxn>
              <a:cxn ang="0">
                <a:pos x="2702" y="390"/>
              </a:cxn>
              <a:cxn ang="0">
                <a:pos x="2702" y="390"/>
              </a:cxn>
              <a:cxn ang="0">
                <a:pos x="2706" y="388"/>
              </a:cxn>
              <a:cxn ang="0">
                <a:pos x="2706" y="388"/>
              </a:cxn>
              <a:cxn ang="0">
                <a:pos x="2706" y="0"/>
              </a:cxn>
              <a:cxn ang="0">
                <a:pos x="2706" y="0"/>
              </a:cxn>
              <a:cxn ang="0">
                <a:pos x="2700" y="0"/>
              </a:cxn>
              <a:cxn ang="0">
                <a:pos x="2700" y="0"/>
              </a:cxn>
            </a:cxnLst>
            <a:rect l="0" t="0" r="r" b="b"/>
            <a:pathLst>
              <a:path w="2706" h="640">
                <a:moveTo>
                  <a:pt x="2700" y="0"/>
                </a:moveTo>
                <a:lnTo>
                  <a:pt x="2700" y="0"/>
                </a:lnTo>
                <a:lnTo>
                  <a:pt x="2586" y="18"/>
                </a:lnTo>
                <a:lnTo>
                  <a:pt x="2470" y="38"/>
                </a:lnTo>
                <a:lnTo>
                  <a:pt x="2352" y="60"/>
                </a:lnTo>
                <a:lnTo>
                  <a:pt x="2230" y="82"/>
                </a:lnTo>
                <a:lnTo>
                  <a:pt x="2106" y="108"/>
                </a:lnTo>
                <a:lnTo>
                  <a:pt x="1978" y="134"/>
                </a:lnTo>
                <a:lnTo>
                  <a:pt x="1848" y="164"/>
                </a:lnTo>
                <a:lnTo>
                  <a:pt x="1714" y="194"/>
                </a:lnTo>
                <a:lnTo>
                  <a:pt x="1714" y="194"/>
                </a:lnTo>
                <a:lnTo>
                  <a:pt x="1472" y="252"/>
                </a:lnTo>
                <a:lnTo>
                  <a:pt x="1236" y="304"/>
                </a:lnTo>
                <a:lnTo>
                  <a:pt x="1010" y="352"/>
                </a:lnTo>
                <a:lnTo>
                  <a:pt x="792" y="398"/>
                </a:lnTo>
                <a:lnTo>
                  <a:pt x="584" y="438"/>
                </a:lnTo>
                <a:lnTo>
                  <a:pt x="382" y="474"/>
                </a:lnTo>
                <a:lnTo>
                  <a:pt x="188" y="508"/>
                </a:lnTo>
                <a:lnTo>
                  <a:pt x="0" y="538"/>
                </a:lnTo>
                <a:lnTo>
                  <a:pt x="0" y="538"/>
                </a:lnTo>
                <a:lnTo>
                  <a:pt x="130" y="556"/>
                </a:lnTo>
                <a:lnTo>
                  <a:pt x="254" y="572"/>
                </a:lnTo>
                <a:lnTo>
                  <a:pt x="374" y="586"/>
                </a:lnTo>
                <a:lnTo>
                  <a:pt x="492" y="598"/>
                </a:lnTo>
                <a:lnTo>
                  <a:pt x="606" y="610"/>
                </a:lnTo>
                <a:lnTo>
                  <a:pt x="716" y="618"/>
                </a:lnTo>
                <a:lnTo>
                  <a:pt x="822" y="626"/>
                </a:lnTo>
                <a:lnTo>
                  <a:pt x="926" y="632"/>
                </a:lnTo>
                <a:lnTo>
                  <a:pt x="1028" y="636"/>
                </a:lnTo>
                <a:lnTo>
                  <a:pt x="1126" y="638"/>
                </a:lnTo>
                <a:lnTo>
                  <a:pt x="1220" y="640"/>
                </a:lnTo>
                <a:lnTo>
                  <a:pt x="1312" y="640"/>
                </a:lnTo>
                <a:lnTo>
                  <a:pt x="1402" y="638"/>
                </a:lnTo>
                <a:lnTo>
                  <a:pt x="1490" y="636"/>
                </a:lnTo>
                <a:lnTo>
                  <a:pt x="1574" y="632"/>
                </a:lnTo>
                <a:lnTo>
                  <a:pt x="1656" y="626"/>
                </a:lnTo>
                <a:lnTo>
                  <a:pt x="1734" y="620"/>
                </a:lnTo>
                <a:lnTo>
                  <a:pt x="1812" y="612"/>
                </a:lnTo>
                <a:lnTo>
                  <a:pt x="1886" y="602"/>
                </a:lnTo>
                <a:lnTo>
                  <a:pt x="1960" y="592"/>
                </a:lnTo>
                <a:lnTo>
                  <a:pt x="2030" y="580"/>
                </a:lnTo>
                <a:lnTo>
                  <a:pt x="2100" y="568"/>
                </a:lnTo>
                <a:lnTo>
                  <a:pt x="2166" y="554"/>
                </a:lnTo>
                <a:lnTo>
                  <a:pt x="2232" y="540"/>
                </a:lnTo>
                <a:lnTo>
                  <a:pt x="2296" y="524"/>
                </a:lnTo>
                <a:lnTo>
                  <a:pt x="2358" y="508"/>
                </a:lnTo>
                <a:lnTo>
                  <a:pt x="2418" y="490"/>
                </a:lnTo>
                <a:lnTo>
                  <a:pt x="2478" y="472"/>
                </a:lnTo>
                <a:lnTo>
                  <a:pt x="2592" y="432"/>
                </a:lnTo>
                <a:lnTo>
                  <a:pt x="2702" y="390"/>
                </a:lnTo>
                <a:lnTo>
                  <a:pt x="2702" y="390"/>
                </a:lnTo>
                <a:lnTo>
                  <a:pt x="2706" y="388"/>
                </a:lnTo>
                <a:lnTo>
                  <a:pt x="2706" y="388"/>
                </a:lnTo>
                <a:lnTo>
                  <a:pt x="2706" y="0"/>
                </a:lnTo>
                <a:lnTo>
                  <a:pt x="2706" y="0"/>
                </a:lnTo>
                <a:lnTo>
                  <a:pt x="2700" y="0"/>
                </a:lnTo>
                <a:lnTo>
                  <a:pt x="2700" y="0"/>
                </a:lnTo>
                <a:close/>
              </a:path>
            </a:pathLst>
          </a:custGeom>
          <a:solidFill>
            <a:schemeClr val="bg2">
              <a:alpha val="29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18"/>
          <p:cNvSpPr>
            <a:spLocks/>
          </p:cNvSpPr>
          <p:nvPr/>
        </p:nvSpPr>
        <p:spPr bwMode="hidden">
          <a:xfrm>
            <a:off x="2619320" y="4075290"/>
            <a:ext cx="5544515" cy="850138"/>
          </a:xfrm>
          <a:custGeom>
            <a:avLst/>
            <a:gdLst/>
            <a:ahLst/>
            <a:cxnLst>
              <a:cxn ang="0">
                <a:pos x="5216" y="714"/>
              </a:cxn>
              <a:cxn ang="0">
                <a:pos x="4984" y="686"/>
              </a:cxn>
              <a:cxn ang="0">
                <a:pos x="4478" y="610"/>
              </a:cxn>
              <a:cxn ang="0">
                <a:pos x="3914" y="508"/>
              </a:cxn>
              <a:cxn ang="0">
                <a:pos x="3286" y="374"/>
              </a:cxn>
              <a:cxn ang="0">
                <a:pos x="2946" y="296"/>
              </a:cxn>
              <a:cxn ang="0">
                <a:pos x="2682" y="236"/>
              </a:cxn>
              <a:cxn ang="0">
                <a:pos x="2430" y="184"/>
              </a:cxn>
              <a:cxn ang="0">
                <a:pos x="2190" y="140"/>
              </a:cxn>
              <a:cxn ang="0">
                <a:pos x="1960" y="102"/>
              </a:cxn>
              <a:cxn ang="0">
                <a:pos x="1740" y="72"/>
              </a:cxn>
              <a:cxn ang="0">
                <a:pos x="1334" y="28"/>
              </a:cxn>
              <a:cxn ang="0">
                <a:pos x="970" y="4"/>
              </a:cxn>
              <a:cxn ang="0">
                <a:pos x="644" y="0"/>
              </a:cxn>
              <a:cxn ang="0">
                <a:pos x="358" y="10"/>
              </a:cxn>
              <a:cxn ang="0">
                <a:pos x="110" y="32"/>
              </a:cxn>
              <a:cxn ang="0">
                <a:pos x="0" y="48"/>
              </a:cxn>
              <a:cxn ang="0">
                <a:pos x="314" y="86"/>
              </a:cxn>
              <a:cxn ang="0">
                <a:pos x="652" y="140"/>
              </a:cxn>
              <a:cxn ang="0">
                <a:pos x="1014" y="210"/>
              </a:cxn>
              <a:cxn ang="0">
                <a:pos x="1402" y="296"/>
              </a:cxn>
              <a:cxn ang="0">
                <a:pos x="1756" y="378"/>
              </a:cxn>
              <a:cxn ang="0">
                <a:pos x="2408" y="516"/>
              </a:cxn>
              <a:cxn ang="0">
                <a:pos x="2708" y="572"/>
              </a:cxn>
              <a:cxn ang="0">
                <a:pos x="2992" y="620"/>
              </a:cxn>
              <a:cxn ang="0">
                <a:pos x="3260" y="662"/>
              </a:cxn>
              <a:cxn ang="0">
                <a:pos x="3512" y="694"/>
              </a:cxn>
              <a:cxn ang="0">
                <a:pos x="3750" y="722"/>
              </a:cxn>
              <a:cxn ang="0">
                <a:pos x="3974" y="740"/>
              </a:cxn>
              <a:cxn ang="0">
                <a:pos x="4184" y="754"/>
              </a:cxn>
              <a:cxn ang="0">
                <a:pos x="4384" y="762"/>
              </a:cxn>
              <a:cxn ang="0">
                <a:pos x="4570" y="762"/>
              </a:cxn>
              <a:cxn ang="0">
                <a:pos x="4746" y="758"/>
              </a:cxn>
              <a:cxn ang="0">
                <a:pos x="4912" y="748"/>
              </a:cxn>
              <a:cxn ang="0">
                <a:pos x="5068" y="732"/>
              </a:cxn>
              <a:cxn ang="0">
                <a:pos x="5216" y="714"/>
              </a:cxn>
            </a:cxnLst>
            <a:rect l="0" t="0" r="r" b="b"/>
            <a:pathLst>
              <a:path w="5216" h="762">
                <a:moveTo>
                  <a:pt x="5216" y="714"/>
                </a:moveTo>
                <a:lnTo>
                  <a:pt x="5216" y="714"/>
                </a:lnTo>
                <a:lnTo>
                  <a:pt x="5102" y="700"/>
                </a:lnTo>
                <a:lnTo>
                  <a:pt x="4984" y="686"/>
                </a:lnTo>
                <a:lnTo>
                  <a:pt x="4738" y="652"/>
                </a:lnTo>
                <a:lnTo>
                  <a:pt x="4478" y="610"/>
                </a:lnTo>
                <a:lnTo>
                  <a:pt x="4204" y="564"/>
                </a:lnTo>
                <a:lnTo>
                  <a:pt x="3914" y="508"/>
                </a:lnTo>
                <a:lnTo>
                  <a:pt x="3608" y="446"/>
                </a:lnTo>
                <a:lnTo>
                  <a:pt x="3286" y="374"/>
                </a:lnTo>
                <a:lnTo>
                  <a:pt x="2946" y="296"/>
                </a:lnTo>
                <a:lnTo>
                  <a:pt x="2946" y="296"/>
                </a:lnTo>
                <a:lnTo>
                  <a:pt x="2812" y="266"/>
                </a:lnTo>
                <a:lnTo>
                  <a:pt x="2682" y="236"/>
                </a:lnTo>
                <a:lnTo>
                  <a:pt x="2556" y="210"/>
                </a:lnTo>
                <a:lnTo>
                  <a:pt x="2430" y="184"/>
                </a:lnTo>
                <a:lnTo>
                  <a:pt x="2308" y="162"/>
                </a:lnTo>
                <a:lnTo>
                  <a:pt x="2190" y="140"/>
                </a:lnTo>
                <a:lnTo>
                  <a:pt x="2074" y="120"/>
                </a:lnTo>
                <a:lnTo>
                  <a:pt x="1960" y="102"/>
                </a:lnTo>
                <a:lnTo>
                  <a:pt x="1850" y="86"/>
                </a:lnTo>
                <a:lnTo>
                  <a:pt x="1740" y="72"/>
                </a:lnTo>
                <a:lnTo>
                  <a:pt x="1532" y="46"/>
                </a:lnTo>
                <a:lnTo>
                  <a:pt x="1334" y="28"/>
                </a:lnTo>
                <a:lnTo>
                  <a:pt x="1148" y="14"/>
                </a:lnTo>
                <a:lnTo>
                  <a:pt x="970" y="4"/>
                </a:lnTo>
                <a:lnTo>
                  <a:pt x="802" y="0"/>
                </a:lnTo>
                <a:lnTo>
                  <a:pt x="644" y="0"/>
                </a:lnTo>
                <a:lnTo>
                  <a:pt x="496" y="4"/>
                </a:lnTo>
                <a:lnTo>
                  <a:pt x="358" y="10"/>
                </a:lnTo>
                <a:lnTo>
                  <a:pt x="230" y="20"/>
                </a:lnTo>
                <a:lnTo>
                  <a:pt x="110" y="32"/>
                </a:lnTo>
                <a:lnTo>
                  <a:pt x="0" y="48"/>
                </a:lnTo>
                <a:lnTo>
                  <a:pt x="0" y="48"/>
                </a:lnTo>
                <a:lnTo>
                  <a:pt x="154" y="66"/>
                </a:lnTo>
                <a:lnTo>
                  <a:pt x="314" y="86"/>
                </a:lnTo>
                <a:lnTo>
                  <a:pt x="480" y="112"/>
                </a:lnTo>
                <a:lnTo>
                  <a:pt x="652" y="140"/>
                </a:lnTo>
                <a:lnTo>
                  <a:pt x="830" y="174"/>
                </a:lnTo>
                <a:lnTo>
                  <a:pt x="1014" y="210"/>
                </a:lnTo>
                <a:lnTo>
                  <a:pt x="1206" y="250"/>
                </a:lnTo>
                <a:lnTo>
                  <a:pt x="1402" y="296"/>
                </a:lnTo>
                <a:lnTo>
                  <a:pt x="1402" y="296"/>
                </a:lnTo>
                <a:lnTo>
                  <a:pt x="1756" y="378"/>
                </a:lnTo>
                <a:lnTo>
                  <a:pt x="2092" y="450"/>
                </a:lnTo>
                <a:lnTo>
                  <a:pt x="2408" y="516"/>
                </a:lnTo>
                <a:lnTo>
                  <a:pt x="2562" y="544"/>
                </a:lnTo>
                <a:lnTo>
                  <a:pt x="2708" y="572"/>
                </a:lnTo>
                <a:lnTo>
                  <a:pt x="2852" y="598"/>
                </a:lnTo>
                <a:lnTo>
                  <a:pt x="2992" y="620"/>
                </a:lnTo>
                <a:lnTo>
                  <a:pt x="3128" y="642"/>
                </a:lnTo>
                <a:lnTo>
                  <a:pt x="3260" y="662"/>
                </a:lnTo>
                <a:lnTo>
                  <a:pt x="3388" y="678"/>
                </a:lnTo>
                <a:lnTo>
                  <a:pt x="3512" y="694"/>
                </a:lnTo>
                <a:lnTo>
                  <a:pt x="3632" y="708"/>
                </a:lnTo>
                <a:lnTo>
                  <a:pt x="3750" y="722"/>
                </a:lnTo>
                <a:lnTo>
                  <a:pt x="3864" y="732"/>
                </a:lnTo>
                <a:lnTo>
                  <a:pt x="3974" y="740"/>
                </a:lnTo>
                <a:lnTo>
                  <a:pt x="4080" y="748"/>
                </a:lnTo>
                <a:lnTo>
                  <a:pt x="4184" y="754"/>
                </a:lnTo>
                <a:lnTo>
                  <a:pt x="4286" y="758"/>
                </a:lnTo>
                <a:lnTo>
                  <a:pt x="4384" y="762"/>
                </a:lnTo>
                <a:lnTo>
                  <a:pt x="4478" y="762"/>
                </a:lnTo>
                <a:lnTo>
                  <a:pt x="4570" y="762"/>
                </a:lnTo>
                <a:lnTo>
                  <a:pt x="4660" y="760"/>
                </a:lnTo>
                <a:lnTo>
                  <a:pt x="4746" y="758"/>
                </a:lnTo>
                <a:lnTo>
                  <a:pt x="4830" y="754"/>
                </a:lnTo>
                <a:lnTo>
                  <a:pt x="4912" y="748"/>
                </a:lnTo>
                <a:lnTo>
                  <a:pt x="4992" y="740"/>
                </a:lnTo>
                <a:lnTo>
                  <a:pt x="5068" y="732"/>
                </a:lnTo>
                <a:lnTo>
                  <a:pt x="5144" y="724"/>
                </a:lnTo>
                <a:lnTo>
                  <a:pt x="5216" y="714"/>
                </a:lnTo>
                <a:lnTo>
                  <a:pt x="5216" y="714"/>
                </a:lnTo>
                <a:close/>
              </a:path>
            </a:pathLst>
          </a:custGeom>
          <a:solidFill>
            <a:schemeClr val="bg2">
              <a:alpha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22"/>
          <p:cNvSpPr>
            <a:spLocks/>
          </p:cNvSpPr>
          <p:nvPr/>
        </p:nvSpPr>
        <p:spPr bwMode="hidden">
          <a:xfrm>
            <a:off x="2828728" y="4087562"/>
            <a:ext cx="5467980" cy="774272"/>
          </a:xfrm>
          <a:custGeom>
            <a:avLst/>
            <a:gdLst/>
            <a:ahLst/>
            <a:cxnLst>
              <a:cxn ang="0">
                <a:pos x="0" y="70"/>
              </a:cxn>
              <a:cxn ang="0">
                <a:pos x="0" y="70"/>
              </a:cxn>
              <a:cxn ang="0">
                <a:pos x="18" y="66"/>
              </a:cxn>
              <a:cxn ang="0">
                <a:pos x="72" y="56"/>
              </a:cxn>
              <a:cxn ang="0">
                <a:pos x="164" y="42"/>
              </a:cxn>
              <a:cxn ang="0">
                <a:pos x="224" y="34"/>
              </a:cxn>
              <a:cxn ang="0">
                <a:pos x="294" y="26"/>
              </a:cxn>
              <a:cxn ang="0">
                <a:pos x="372" y="20"/>
              </a:cxn>
              <a:cxn ang="0">
                <a:pos x="462" y="14"/>
              </a:cxn>
              <a:cxn ang="0">
                <a:pos x="560" y="8"/>
              </a:cxn>
              <a:cxn ang="0">
                <a:pos x="670" y="4"/>
              </a:cxn>
              <a:cxn ang="0">
                <a:pos x="790" y="2"/>
              </a:cxn>
              <a:cxn ang="0">
                <a:pos x="920" y="0"/>
              </a:cxn>
              <a:cxn ang="0">
                <a:pos x="1060" y="2"/>
              </a:cxn>
              <a:cxn ang="0">
                <a:pos x="1210" y="6"/>
              </a:cxn>
              <a:cxn ang="0">
                <a:pos x="1372" y="14"/>
              </a:cxn>
              <a:cxn ang="0">
                <a:pos x="1544" y="24"/>
              </a:cxn>
              <a:cxn ang="0">
                <a:pos x="1726" y="40"/>
              </a:cxn>
              <a:cxn ang="0">
                <a:pos x="1920" y="58"/>
              </a:cxn>
              <a:cxn ang="0">
                <a:pos x="2126" y="80"/>
              </a:cxn>
              <a:cxn ang="0">
                <a:pos x="2342" y="106"/>
              </a:cxn>
              <a:cxn ang="0">
                <a:pos x="2570" y="138"/>
              </a:cxn>
              <a:cxn ang="0">
                <a:pos x="2808" y="174"/>
              </a:cxn>
              <a:cxn ang="0">
                <a:pos x="3058" y="216"/>
              </a:cxn>
              <a:cxn ang="0">
                <a:pos x="3320" y="266"/>
              </a:cxn>
              <a:cxn ang="0">
                <a:pos x="3594" y="320"/>
              </a:cxn>
              <a:cxn ang="0">
                <a:pos x="3880" y="380"/>
              </a:cxn>
              <a:cxn ang="0">
                <a:pos x="4178" y="448"/>
              </a:cxn>
              <a:cxn ang="0">
                <a:pos x="4488" y="522"/>
              </a:cxn>
              <a:cxn ang="0">
                <a:pos x="4810" y="604"/>
              </a:cxn>
              <a:cxn ang="0">
                <a:pos x="5144" y="694"/>
              </a:cxn>
            </a:cxnLst>
            <a:rect l="0" t="0" r="r" b="b"/>
            <a:pathLst>
              <a:path w="5144" h="694">
                <a:moveTo>
                  <a:pt x="0" y="70"/>
                </a:moveTo>
                <a:lnTo>
                  <a:pt x="0" y="70"/>
                </a:lnTo>
                <a:lnTo>
                  <a:pt x="18" y="66"/>
                </a:lnTo>
                <a:lnTo>
                  <a:pt x="72" y="56"/>
                </a:lnTo>
                <a:lnTo>
                  <a:pt x="164" y="42"/>
                </a:lnTo>
                <a:lnTo>
                  <a:pt x="224" y="34"/>
                </a:lnTo>
                <a:lnTo>
                  <a:pt x="294" y="26"/>
                </a:lnTo>
                <a:lnTo>
                  <a:pt x="372" y="20"/>
                </a:lnTo>
                <a:lnTo>
                  <a:pt x="462" y="14"/>
                </a:lnTo>
                <a:lnTo>
                  <a:pt x="560" y="8"/>
                </a:lnTo>
                <a:lnTo>
                  <a:pt x="670" y="4"/>
                </a:lnTo>
                <a:lnTo>
                  <a:pt x="790" y="2"/>
                </a:lnTo>
                <a:lnTo>
                  <a:pt x="920" y="0"/>
                </a:lnTo>
                <a:lnTo>
                  <a:pt x="1060" y="2"/>
                </a:lnTo>
                <a:lnTo>
                  <a:pt x="1210" y="6"/>
                </a:lnTo>
                <a:lnTo>
                  <a:pt x="1372" y="14"/>
                </a:lnTo>
                <a:lnTo>
                  <a:pt x="1544" y="24"/>
                </a:lnTo>
                <a:lnTo>
                  <a:pt x="1726" y="40"/>
                </a:lnTo>
                <a:lnTo>
                  <a:pt x="1920" y="58"/>
                </a:lnTo>
                <a:lnTo>
                  <a:pt x="2126" y="80"/>
                </a:lnTo>
                <a:lnTo>
                  <a:pt x="2342" y="106"/>
                </a:lnTo>
                <a:lnTo>
                  <a:pt x="2570" y="138"/>
                </a:lnTo>
                <a:lnTo>
                  <a:pt x="2808" y="174"/>
                </a:lnTo>
                <a:lnTo>
                  <a:pt x="3058" y="216"/>
                </a:lnTo>
                <a:lnTo>
                  <a:pt x="3320" y="266"/>
                </a:lnTo>
                <a:lnTo>
                  <a:pt x="3594" y="320"/>
                </a:lnTo>
                <a:lnTo>
                  <a:pt x="3880" y="380"/>
                </a:lnTo>
                <a:lnTo>
                  <a:pt x="4178" y="448"/>
                </a:lnTo>
                <a:lnTo>
                  <a:pt x="4488" y="522"/>
                </a:lnTo>
                <a:lnTo>
                  <a:pt x="4810" y="604"/>
                </a:lnTo>
                <a:lnTo>
                  <a:pt x="5144" y="694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26"/>
          <p:cNvSpPr>
            <a:spLocks/>
          </p:cNvSpPr>
          <p:nvPr/>
        </p:nvSpPr>
        <p:spPr bwMode="hidden">
          <a:xfrm>
            <a:off x="5609489" y="4074174"/>
            <a:ext cx="3308000" cy="651549"/>
          </a:xfrm>
          <a:custGeom>
            <a:avLst/>
            <a:gdLst/>
            <a:ahLst/>
            <a:cxnLst>
              <a:cxn ang="0">
                <a:pos x="0" y="584"/>
              </a:cxn>
              <a:cxn ang="0">
                <a:pos x="0" y="584"/>
              </a:cxn>
              <a:cxn ang="0">
                <a:pos x="90" y="560"/>
              </a:cxn>
              <a:cxn ang="0">
                <a:pos x="336" y="498"/>
              </a:cxn>
              <a:cxn ang="0">
                <a:pos x="506" y="456"/>
              </a:cxn>
              <a:cxn ang="0">
                <a:pos x="702" y="410"/>
              </a:cxn>
              <a:cxn ang="0">
                <a:pos x="920" y="360"/>
              </a:cxn>
              <a:cxn ang="0">
                <a:pos x="1154" y="306"/>
              </a:cxn>
              <a:cxn ang="0">
                <a:pos x="1402" y="254"/>
              </a:cxn>
              <a:cxn ang="0">
                <a:pos x="1656" y="202"/>
              </a:cxn>
              <a:cxn ang="0">
                <a:pos x="1916" y="154"/>
              </a:cxn>
              <a:cxn ang="0">
                <a:pos x="2174" y="108"/>
              </a:cxn>
              <a:cxn ang="0">
                <a:pos x="2302" y="88"/>
              </a:cxn>
              <a:cxn ang="0">
                <a:pos x="2426" y="68"/>
              </a:cxn>
              <a:cxn ang="0">
                <a:pos x="2550" y="52"/>
              </a:cxn>
              <a:cxn ang="0">
                <a:pos x="2670" y="36"/>
              </a:cxn>
              <a:cxn ang="0">
                <a:pos x="2788" y="24"/>
              </a:cxn>
              <a:cxn ang="0">
                <a:pos x="2900" y="14"/>
              </a:cxn>
              <a:cxn ang="0">
                <a:pos x="3008" y="6"/>
              </a:cxn>
              <a:cxn ang="0">
                <a:pos x="3112" y="0"/>
              </a:cxn>
            </a:cxnLst>
            <a:rect l="0" t="0" r="r" b="b"/>
            <a:pathLst>
              <a:path w="3112" h="584">
                <a:moveTo>
                  <a:pt x="0" y="584"/>
                </a:moveTo>
                <a:lnTo>
                  <a:pt x="0" y="584"/>
                </a:lnTo>
                <a:lnTo>
                  <a:pt x="90" y="560"/>
                </a:lnTo>
                <a:lnTo>
                  <a:pt x="336" y="498"/>
                </a:lnTo>
                <a:lnTo>
                  <a:pt x="506" y="456"/>
                </a:lnTo>
                <a:lnTo>
                  <a:pt x="702" y="410"/>
                </a:lnTo>
                <a:lnTo>
                  <a:pt x="920" y="360"/>
                </a:lnTo>
                <a:lnTo>
                  <a:pt x="1154" y="306"/>
                </a:lnTo>
                <a:lnTo>
                  <a:pt x="1402" y="254"/>
                </a:lnTo>
                <a:lnTo>
                  <a:pt x="1656" y="202"/>
                </a:lnTo>
                <a:lnTo>
                  <a:pt x="1916" y="154"/>
                </a:lnTo>
                <a:lnTo>
                  <a:pt x="2174" y="108"/>
                </a:lnTo>
                <a:lnTo>
                  <a:pt x="2302" y="88"/>
                </a:lnTo>
                <a:lnTo>
                  <a:pt x="2426" y="68"/>
                </a:lnTo>
                <a:lnTo>
                  <a:pt x="2550" y="52"/>
                </a:lnTo>
                <a:lnTo>
                  <a:pt x="2670" y="36"/>
                </a:lnTo>
                <a:lnTo>
                  <a:pt x="2788" y="24"/>
                </a:lnTo>
                <a:lnTo>
                  <a:pt x="2900" y="14"/>
                </a:lnTo>
                <a:lnTo>
                  <a:pt x="3008" y="6"/>
                </a:lnTo>
                <a:lnTo>
                  <a:pt x="3112" y="0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 useBgFill="1">
        <p:nvSpPr>
          <p:cNvPr id="13" name="Freeform 10"/>
          <p:cNvSpPr>
            <a:spLocks/>
          </p:cNvSpPr>
          <p:nvPr/>
        </p:nvSpPr>
        <p:spPr bwMode="hidden">
          <a:xfrm>
            <a:off x="211665" y="4058555"/>
            <a:ext cx="8723376" cy="1329874"/>
          </a:xfrm>
          <a:custGeom>
            <a:avLst/>
            <a:gdLst/>
            <a:ahLst/>
            <a:cxnLst>
              <a:cxn ang="0">
                <a:pos x="8192" y="512"/>
              </a:cxn>
              <a:cxn ang="0">
                <a:pos x="8040" y="570"/>
              </a:cxn>
              <a:cxn ang="0">
                <a:pos x="7878" y="620"/>
              </a:cxn>
              <a:cxn ang="0">
                <a:pos x="7706" y="666"/>
              </a:cxn>
              <a:cxn ang="0">
                <a:pos x="7522" y="702"/>
              </a:cxn>
              <a:cxn ang="0">
                <a:pos x="7322" y="730"/>
              </a:cxn>
              <a:cxn ang="0">
                <a:pos x="7106" y="750"/>
              </a:cxn>
              <a:cxn ang="0">
                <a:pos x="6872" y="762"/>
              </a:cxn>
              <a:cxn ang="0">
                <a:pos x="6618" y="760"/>
              </a:cxn>
              <a:cxn ang="0">
                <a:pos x="6342" y="750"/>
              </a:cxn>
              <a:cxn ang="0">
                <a:pos x="6042" y="726"/>
              </a:cxn>
              <a:cxn ang="0">
                <a:pos x="5716" y="690"/>
              </a:cxn>
              <a:cxn ang="0">
                <a:pos x="5364" y="642"/>
              </a:cxn>
              <a:cxn ang="0">
                <a:pos x="4982" y="578"/>
              </a:cxn>
              <a:cxn ang="0">
                <a:pos x="4568" y="500"/>
              </a:cxn>
              <a:cxn ang="0">
                <a:pos x="4122" y="406"/>
              </a:cxn>
              <a:cxn ang="0">
                <a:pos x="3640" y="296"/>
              </a:cxn>
              <a:cxn ang="0">
                <a:pos x="3396" y="240"/>
              </a:cxn>
              <a:cxn ang="0">
                <a:pos x="2934" y="148"/>
              </a:cxn>
              <a:cxn ang="0">
                <a:pos x="2512" y="82"/>
              </a:cxn>
              <a:cxn ang="0">
                <a:pos x="2126" y="36"/>
              </a:cxn>
              <a:cxn ang="0">
                <a:pos x="1776" y="10"/>
              </a:cxn>
              <a:cxn ang="0">
                <a:pos x="1462" y="0"/>
              </a:cxn>
              <a:cxn ang="0">
                <a:pos x="1182" y="4"/>
              </a:cxn>
              <a:cxn ang="0">
                <a:pos x="934" y="20"/>
              </a:cxn>
              <a:cxn ang="0">
                <a:pos x="716" y="44"/>
              </a:cxn>
              <a:cxn ang="0">
                <a:pos x="530" y="74"/>
              </a:cxn>
              <a:cxn ang="0">
                <a:pos x="374" y="108"/>
              </a:cxn>
              <a:cxn ang="0">
                <a:pos x="248" y="144"/>
              </a:cxn>
              <a:cxn ang="0">
                <a:pos x="148" y="176"/>
              </a:cxn>
              <a:cxn ang="0">
                <a:pos x="48" y="216"/>
              </a:cxn>
              <a:cxn ang="0">
                <a:pos x="0" y="240"/>
              </a:cxn>
              <a:cxn ang="0">
                <a:pos x="8192" y="1192"/>
              </a:cxn>
              <a:cxn ang="0">
                <a:pos x="8196" y="1186"/>
              </a:cxn>
              <a:cxn ang="0">
                <a:pos x="8196" y="510"/>
              </a:cxn>
              <a:cxn ang="0">
                <a:pos x="8192" y="512"/>
              </a:cxn>
            </a:cxnLst>
            <a:rect l="0" t="0" r="r" b="b"/>
            <a:pathLst>
              <a:path w="8196" h="1192">
                <a:moveTo>
                  <a:pt x="8192" y="512"/>
                </a:moveTo>
                <a:lnTo>
                  <a:pt x="8192" y="512"/>
                </a:lnTo>
                <a:lnTo>
                  <a:pt x="8116" y="542"/>
                </a:lnTo>
                <a:lnTo>
                  <a:pt x="8040" y="570"/>
                </a:lnTo>
                <a:lnTo>
                  <a:pt x="7960" y="596"/>
                </a:lnTo>
                <a:lnTo>
                  <a:pt x="7878" y="620"/>
                </a:lnTo>
                <a:lnTo>
                  <a:pt x="7794" y="644"/>
                </a:lnTo>
                <a:lnTo>
                  <a:pt x="7706" y="666"/>
                </a:lnTo>
                <a:lnTo>
                  <a:pt x="7616" y="684"/>
                </a:lnTo>
                <a:lnTo>
                  <a:pt x="7522" y="702"/>
                </a:lnTo>
                <a:lnTo>
                  <a:pt x="7424" y="718"/>
                </a:lnTo>
                <a:lnTo>
                  <a:pt x="7322" y="730"/>
                </a:lnTo>
                <a:lnTo>
                  <a:pt x="7216" y="742"/>
                </a:lnTo>
                <a:lnTo>
                  <a:pt x="7106" y="750"/>
                </a:lnTo>
                <a:lnTo>
                  <a:pt x="6992" y="758"/>
                </a:lnTo>
                <a:lnTo>
                  <a:pt x="6872" y="762"/>
                </a:lnTo>
                <a:lnTo>
                  <a:pt x="6748" y="762"/>
                </a:lnTo>
                <a:lnTo>
                  <a:pt x="6618" y="760"/>
                </a:lnTo>
                <a:lnTo>
                  <a:pt x="6482" y="756"/>
                </a:lnTo>
                <a:lnTo>
                  <a:pt x="6342" y="750"/>
                </a:lnTo>
                <a:lnTo>
                  <a:pt x="6196" y="740"/>
                </a:lnTo>
                <a:lnTo>
                  <a:pt x="6042" y="726"/>
                </a:lnTo>
                <a:lnTo>
                  <a:pt x="5882" y="710"/>
                </a:lnTo>
                <a:lnTo>
                  <a:pt x="5716" y="690"/>
                </a:lnTo>
                <a:lnTo>
                  <a:pt x="5544" y="668"/>
                </a:lnTo>
                <a:lnTo>
                  <a:pt x="5364" y="642"/>
                </a:lnTo>
                <a:lnTo>
                  <a:pt x="5176" y="612"/>
                </a:lnTo>
                <a:lnTo>
                  <a:pt x="4982" y="578"/>
                </a:lnTo>
                <a:lnTo>
                  <a:pt x="4778" y="540"/>
                </a:lnTo>
                <a:lnTo>
                  <a:pt x="4568" y="500"/>
                </a:lnTo>
                <a:lnTo>
                  <a:pt x="4348" y="454"/>
                </a:lnTo>
                <a:lnTo>
                  <a:pt x="4122" y="406"/>
                </a:lnTo>
                <a:lnTo>
                  <a:pt x="3886" y="354"/>
                </a:lnTo>
                <a:lnTo>
                  <a:pt x="3640" y="296"/>
                </a:lnTo>
                <a:lnTo>
                  <a:pt x="3640" y="296"/>
                </a:lnTo>
                <a:lnTo>
                  <a:pt x="3396" y="240"/>
                </a:lnTo>
                <a:lnTo>
                  <a:pt x="3160" y="192"/>
                </a:lnTo>
                <a:lnTo>
                  <a:pt x="2934" y="148"/>
                </a:lnTo>
                <a:lnTo>
                  <a:pt x="2718" y="112"/>
                </a:lnTo>
                <a:lnTo>
                  <a:pt x="2512" y="82"/>
                </a:lnTo>
                <a:lnTo>
                  <a:pt x="2314" y="56"/>
                </a:lnTo>
                <a:lnTo>
                  <a:pt x="2126" y="36"/>
                </a:lnTo>
                <a:lnTo>
                  <a:pt x="1948" y="20"/>
                </a:lnTo>
                <a:lnTo>
                  <a:pt x="1776" y="10"/>
                </a:lnTo>
                <a:lnTo>
                  <a:pt x="1616" y="2"/>
                </a:lnTo>
                <a:lnTo>
                  <a:pt x="1462" y="0"/>
                </a:lnTo>
                <a:lnTo>
                  <a:pt x="1318" y="0"/>
                </a:lnTo>
                <a:lnTo>
                  <a:pt x="1182" y="4"/>
                </a:lnTo>
                <a:lnTo>
                  <a:pt x="1054" y="10"/>
                </a:lnTo>
                <a:lnTo>
                  <a:pt x="934" y="20"/>
                </a:lnTo>
                <a:lnTo>
                  <a:pt x="822" y="30"/>
                </a:lnTo>
                <a:lnTo>
                  <a:pt x="716" y="44"/>
                </a:lnTo>
                <a:lnTo>
                  <a:pt x="620" y="58"/>
                </a:lnTo>
                <a:lnTo>
                  <a:pt x="530" y="74"/>
                </a:lnTo>
                <a:lnTo>
                  <a:pt x="450" y="92"/>
                </a:lnTo>
                <a:lnTo>
                  <a:pt x="374" y="108"/>
                </a:lnTo>
                <a:lnTo>
                  <a:pt x="308" y="126"/>
                </a:lnTo>
                <a:lnTo>
                  <a:pt x="248" y="144"/>
                </a:lnTo>
                <a:lnTo>
                  <a:pt x="194" y="160"/>
                </a:lnTo>
                <a:lnTo>
                  <a:pt x="148" y="176"/>
                </a:lnTo>
                <a:lnTo>
                  <a:pt x="108" y="192"/>
                </a:lnTo>
                <a:lnTo>
                  <a:pt x="48" y="216"/>
                </a:lnTo>
                <a:lnTo>
                  <a:pt x="12" y="234"/>
                </a:lnTo>
                <a:lnTo>
                  <a:pt x="0" y="240"/>
                </a:lnTo>
                <a:lnTo>
                  <a:pt x="0" y="1192"/>
                </a:lnTo>
                <a:lnTo>
                  <a:pt x="8192" y="1192"/>
                </a:lnTo>
                <a:lnTo>
                  <a:pt x="8192" y="1192"/>
                </a:lnTo>
                <a:lnTo>
                  <a:pt x="8196" y="1186"/>
                </a:lnTo>
                <a:lnTo>
                  <a:pt x="8196" y="1186"/>
                </a:lnTo>
                <a:lnTo>
                  <a:pt x="8196" y="510"/>
                </a:lnTo>
                <a:lnTo>
                  <a:pt x="8196" y="510"/>
                </a:lnTo>
                <a:lnTo>
                  <a:pt x="8192" y="512"/>
                </a:lnTo>
                <a:lnTo>
                  <a:pt x="8192" y="512"/>
                </a:lnTo>
                <a:close/>
              </a:path>
            </a:pathLst>
          </a:custGeom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032" y="2463560"/>
            <a:ext cx="7772400" cy="1524000"/>
          </a:xfrm>
        </p:spPr>
        <p:txBody>
          <a:bodyPr anchor="t">
            <a:normAutofit/>
          </a:bodyPr>
          <a:lstStyle>
            <a:lvl1pPr algn="ctr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7365" y="1437448"/>
            <a:ext cx="6417734" cy="939801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E6425-0181-43F2-84FC-787E803FD2F8}" type="datetimeFigureOut">
              <a:rPr lang="en-US" smtClean="0"/>
              <a:t>9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B8791-F1B0-41E7-B7FD-A781E65C4266}" type="datetimeFigureOut">
              <a:rPr lang="en-US" smtClean="0"/>
              <a:t>9/1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76655" y="2679192"/>
            <a:ext cx="3822192" cy="34472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2679192"/>
            <a:ext cx="3822192" cy="34472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678114"/>
            <a:ext cx="3822192" cy="639762"/>
          </a:xfrm>
        </p:spPr>
        <p:txBody>
          <a:bodyPr anchor="ctr"/>
          <a:lstStyle>
            <a:lvl1pPr marL="0" indent="0" algn="ctr"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7332" y="3429000"/>
            <a:ext cx="3820055" cy="26971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2678113"/>
            <a:ext cx="3822192" cy="639762"/>
          </a:xfr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3429000"/>
            <a:ext cx="3822192" cy="26971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D63B2-E120-4ED8-B27B-C685F510A5FE}" type="datetimeFigureOut">
              <a:rPr lang="en-US" smtClean="0"/>
              <a:t>9/13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18ACC-A947-437B-A130-35BD54FDF1E9}" type="datetimeFigureOut">
              <a:rPr lang="en-US" smtClean="0"/>
              <a:t>9/1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29874"/>
            <a:chOff x="-3905251" y="4294188"/>
            <a:chExt cx="13027839" cy="1892300"/>
          </a:xfrm>
        </p:grpSpPr>
        <p:sp>
          <p:nvSpPr>
            <p:cNvPr id="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7E02-BCB8-4D50-A234-369438C08659}" type="datetimeFigureOut">
              <a:rPr lang="en-US" smtClean="0"/>
              <a:t>9/13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E86A4C-8E40-4F87-A4F0-01A0687C5742}" type="datetimeFigureOut">
              <a:rPr lang="en-US" smtClean="0"/>
              <a:t>9/1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3581400"/>
            <a:ext cx="3352800" cy="190500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" name="Group 23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31580"/>
            <a:chOff x="-3905250" y="4294188"/>
            <a:chExt cx="13011150" cy="1892300"/>
          </a:xfrm>
        </p:grpSpPr>
        <p:sp>
          <p:nvSpPr>
            <p:cNvPr id="25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9" name="Freeform 28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914400" y="2286000"/>
            <a:ext cx="3352800" cy="1252728"/>
          </a:xfrm>
        </p:spPr>
        <p:txBody>
          <a:bodyPr anchor="b">
            <a:noAutofit/>
          </a:bodyPr>
          <a:lstStyle>
            <a:lvl1pPr algn="l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1962" y="1828800"/>
            <a:ext cx="3904076" cy="3810000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tx2"/>
                </a:solidFill>
              </a:defRPr>
            </a:lvl1pPr>
            <a:lvl2pPr>
              <a:buClr>
                <a:schemeClr val="bg1"/>
              </a:buClr>
              <a:defRPr sz="2000">
                <a:solidFill>
                  <a:schemeClr val="tx2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tx2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tx2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228600" y="228600"/>
            <a:ext cx="8695944" cy="603504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 bwMode="hidden">
          <a:xfrm>
            <a:off x="211665" y="5353963"/>
            <a:ext cx="8723376" cy="1331580"/>
            <a:chOff x="-3905250" y="4294188"/>
            <a:chExt cx="13011150" cy="1892300"/>
          </a:xfrm>
        </p:grpSpPr>
        <p:sp>
          <p:nvSpPr>
            <p:cNvPr id="10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4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155" y="338667"/>
            <a:ext cx="3812645" cy="2429934"/>
          </a:xfrm>
        </p:spPr>
        <p:txBody>
          <a:bodyPr anchor="b">
            <a:normAutofit/>
          </a:bodyPr>
          <a:lstStyle>
            <a:lvl1pPr algn="l"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68333" y="2785533"/>
            <a:ext cx="3818467" cy="24214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72C73-2D91-4E12-BA25-F0AA0C03599B}" type="datetimeFigureOut">
              <a:rPr lang="en-US" smtClean="0"/>
              <a:t>9/1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8200" y="1371600"/>
            <a:ext cx="3566160" cy="2926080"/>
          </a:xfrm>
          <a:prstGeom prst="roundRect">
            <a:avLst>
              <a:gd name="adj" fmla="val 3924"/>
            </a:avLst>
          </a:prstGeom>
          <a:solidFill>
            <a:schemeClr val="accent1"/>
          </a:solidFill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 fov="600000">
              <a:rot lat="240000" lon="19799999" rev="0"/>
            </a:camera>
            <a:lightRig rig="threePt" dir="t">
              <a:rot lat="0" lon="0" rev="2700000"/>
            </a:lightRig>
          </a:scene3d>
          <a:sp3d>
            <a:bevelT w="44450" h="31750"/>
          </a:sp3d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228600"/>
            <a:ext cx="8695944" cy="2468880"/>
          </a:xfrm>
          <a:prstGeom prst="roundRect">
            <a:avLst>
              <a:gd name="adj" fmla="val 336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15"/>
          <p:cNvGrpSpPr>
            <a:grpSpLocks noChangeAspect="1"/>
          </p:cNvGrpSpPr>
          <p:nvPr/>
        </p:nvGrpSpPr>
        <p:grpSpPr bwMode="hidden">
          <a:xfrm>
            <a:off x="211665" y="1679429"/>
            <a:ext cx="8723376" cy="1329874"/>
            <a:chOff x="-3905251" y="4294188"/>
            <a:chExt cx="13027839" cy="1892300"/>
          </a:xfrm>
        </p:grpSpPr>
        <p:sp>
          <p:nvSpPr>
            <p:cNvPr id="1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38328"/>
            <a:ext cx="8229600" cy="12527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63672" y="6250164"/>
            <a:ext cx="378669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2BE451C3-0FF4-47C4-B829-773ADF60F88C}" type="datetimeFigureOut">
              <a:rPr lang="en-US" smtClean="0"/>
              <a:t>9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638" y="6250164"/>
            <a:ext cx="37866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91088" y="6250163"/>
            <a:ext cx="11618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2067" y="2675467"/>
            <a:ext cx="7408333" cy="3450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FFFFFF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6263" indent="-27432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55663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463040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78308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10312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242316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74320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ommunity </a:t>
            </a:r>
            <a:r>
              <a:rPr lang="en-US" dirty="0" smtClean="0">
                <a:solidFill>
                  <a:schemeClr val="tx1"/>
                </a:solidFill>
              </a:rPr>
              <a:t>Well being </a:t>
            </a:r>
            <a:r>
              <a:rPr lang="en-US" dirty="0">
                <a:solidFill>
                  <a:schemeClr val="tx1"/>
                </a:solidFill>
              </a:rPr>
              <a:t>Model </a:t>
            </a:r>
            <a:r>
              <a:rPr lang="en-US" dirty="0" smtClean="0">
                <a:solidFill>
                  <a:schemeClr val="tx1"/>
                </a:solidFill>
              </a:rPr>
              <a:t>Definition</a:t>
            </a: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45284" y="1613790"/>
            <a:ext cx="7894041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Community </a:t>
            </a:r>
            <a:r>
              <a:rPr lang="en-US" b="1" dirty="0" smtClean="0"/>
              <a:t>Well being </a:t>
            </a:r>
            <a:r>
              <a:rPr lang="en-US" b="1" dirty="0"/>
              <a:t>Model Definition – Draft </a:t>
            </a:r>
          </a:p>
          <a:p>
            <a:r>
              <a:rPr lang="en-US" sz="1400" dirty="0"/>
              <a:t>Nebraska Children has formalized the Community Well-Being Model which adheres to the </a:t>
            </a:r>
            <a:r>
              <a:rPr lang="en-US" sz="1400" dirty="0"/>
              <a:t>C</a:t>
            </a:r>
            <a:r>
              <a:rPr lang="en-US" sz="1400" dirty="0" smtClean="0"/>
              <a:t>ollective </a:t>
            </a:r>
            <a:r>
              <a:rPr lang="en-US" sz="1400" dirty="0"/>
              <a:t>I</a:t>
            </a:r>
            <a:r>
              <a:rPr lang="en-US" sz="1400" dirty="0" smtClean="0"/>
              <a:t>mpact </a:t>
            </a:r>
            <a:r>
              <a:rPr lang="en-US" sz="1400" dirty="0"/>
              <a:t>A</a:t>
            </a:r>
            <a:r>
              <a:rPr lang="en-US" sz="1400" dirty="0" smtClean="0"/>
              <a:t>pproach</a:t>
            </a:r>
            <a:r>
              <a:rPr lang="en-US" sz="1400" dirty="0"/>
              <a:t>. The goal is to create a community-based prevention system that promotes safe, healthy, and thriving children, youth, families, and communities. The prevention system is broad based and includes a community collaborative which builds capacity and strengthens individuals, organizations, coalitions, and systems to support safe, healthy, and nurturing environments. </a:t>
            </a:r>
          </a:p>
          <a:p>
            <a:endParaRPr lang="en-US" sz="1400" dirty="0" smtClean="0"/>
          </a:p>
          <a:p>
            <a:r>
              <a:rPr lang="en-US" sz="1400" dirty="0" smtClean="0"/>
              <a:t>CWB components:</a:t>
            </a:r>
            <a:endParaRPr lang="en-US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Organized prevention system with varying degrees of development (including infrastructure &amp; processes, capacity building, number of workgroups / implementation of strategies)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Lifespan focus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Community Ownership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Broad-Based collaborative support through multi-sector partners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Collective Impact functions and processes (including data driven, common agenda, agreed upon goals, continuous communication, etc.)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Shared outcomes around increasing protective factors for prevention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NC initiatives an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Community solutions and strategies to meet community identified needs and priorities</a:t>
            </a:r>
          </a:p>
          <a:p>
            <a:endParaRPr lang="en-US" sz="1400" dirty="0" smtClean="0"/>
          </a:p>
          <a:p>
            <a:r>
              <a:rPr lang="en-US" sz="1400" dirty="0" smtClean="0"/>
              <a:t>Through </a:t>
            </a:r>
            <a:r>
              <a:rPr lang="en-US" sz="1400" dirty="0"/>
              <a:t>a Community Wellbeing model, policy makers, state, and community leaders, community workers, affected individuals co-create an environment that values and actively supports prevention (i.e., building protective factors)</a:t>
            </a:r>
          </a:p>
        </p:txBody>
      </p:sp>
    </p:spTree>
    <p:extLst>
      <p:ext uri="{BB962C8B-B14F-4D97-AF65-F5344CB8AC3E}">
        <p14:creationId xmlns:p14="http://schemas.microsoft.com/office/powerpoint/2010/main" val="171321363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Cloud 98"/>
          <p:cNvSpPr/>
          <p:nvPr/>
        </p:nvSpPr>
        <p:spPr>
          <a:xfrm rot="11386230">
            <a:off x="2234748" y="1741635"/>
            <a:ext cx="4578615" cy="4831015"/>
          </a:xfrm>
          <a:prstGeom prst="cloud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28" name="Straight Arrow Connector 127"/>
          <p:cNvCxnSpPr/>
          <p:nvPr/>
        </p:nvCxnSpPr>
        <p:spPr>
          <a:xfrm flipH="1">
            <a:off x="1950151" y="3583136"/>
            <a:ext cx="50043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48123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4494" y="331066"/>
            <a:ext cx="8355012" cy="659534"/>
          </a:xfrm>
        </p:spPr>
        <p:txBody>
          <a:bodyPr>
            <a:normAutofit fontScale="90000"/>
          </a:bodyPr>
          <a:lstStyle/>
          <a:p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 smtClean="0"/>
              <a:t>Collective Impact for Community Well Being </a:t>
            </a:r>
            <a:endParaRPr lang="en-US" sz="2400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2298962" y="1334919"/>
            <a:ext cx="0" cy="5143252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ounded Rectangle 4"/>
          <p:cNvSpPr/>
          <p:nvPr/>
        </p:nvSpPr>
        <p:spPr>
          <a:xfrm flipV="1">
            <a:off x="302004" y="2188806"/>
            <a:ext cx="1648147" cy="4271389"/>
          </a:xfrm>
          <a:prstGeom prst="roundRect">
            <a:avLst/>
          </a:prstGeom>
          <a:solidFill>
            <a:srgbClr val="DFEEFF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32" name="Straight Arrow Connector 131"/>
          <p:cNvCxnSpPr/>
          <p:nvPr/>
        </p:nvCxnSpPr>
        <p:spPr>
          <a:xfrm flipH="1">
            <a:off x="1964235" y="5317824"/>
            <a:ext cx="5446575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676089" y="3097688"/>
            <a:ext cx="1354763" cy="122681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1" name="Oval 70"/>
          <p:cNvSpPr/>
          <p:nvPr/>
        </p:nvSpPr>
        <p:spPr>
          <a:xfrm>
            <a:off x="3680983" y="4345087"/>
            <a:ext cx="1347546" cy="1274436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55" name="Oval 154"/>
          <p:cNvSpPr/>
          <p:nvPr/>
        </p:nvSpPr>
        <p:spPr>
          <a:xfrm>
            <a:off x="5078458" y="4289786"/>
            <a:ext cx="1293801" cy="1268019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411281" y="3047354"/>
            <a:ext cx="1281191" cy="1260140"/>
            <a:chOff x="6129941" y="2884993"/>
            <a:chExt cx="1642459" cy="1368534"/>
          </a:xfrm>
        </p:grpSpPr>
        <p:sp>
          <p:nvSpPr>
            <p:cNvPr id="54" name="Oval 53"/>
            <p:cNvSpPr/>
            <p:nvPr/>
          </p:nvSpPr>
          <p:spPr>
            <a:xfrm>
              <a:off x="7171052" y="3318439"/>
              <a:ext cx="381683" cy="2862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6129941" y="2884993"/>
              <a:ext cx="1642459" cy="1368534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lder Youth </a:t>
              </a:r>
              <a:r>
                <a:rPr lang="en-US" sz="10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– Connected Youth Initiative </a:t>
              </a:r>
              <a:endPara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234892" y="989901"/>
            <a:ext cx="8716161" cy="505143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OUTCOMES: Prevention of Child Abuse and Neglect, Juvenile Justice </a:t>
            </a:r>
          </a:p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crease in High School Graduation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5177208" y="4485962"/>
            <a:ext cx="109880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000000"/>
                </a:solidFill>
                <a:latin typeface="Arial"/>
              </a:rPr>
              <a:t>Health/</a:t>
            </a:r>
            <a:r>
              <a:rPr lang="en-US" sz="1000" b="1" dirty="0" err="1" smtClean="0">
                <a:solidFill>
                  <a:srgbClr val="000000"/>
                </a:solidFill>
                <a:latin typeface="Arial"/>
              </a:rPr>
              <a:t>Behavorial</a:t>
            </a:r>
            <a:r>
              <a:rPr lang="en-US" sz="1000" b="1" dirty="0" smtClean="0">
                <a:solidFill>
                  <a:srgbClr val="000000"/>
                </a:solidFill>
                <a:latin typeface="Arial"/>
              </a:rPr>
              <a:t> Health </a:t>
            </a:r>
            <a:r>
              <a:rPr lang="en-US" sz="1000" dirty="0" smtClean="0">
                <a:solidFill>
                  <a:srgbClr val="000000"/>
                </a:solidFill>
                <a:latin typeface="Arial"/>
              </a:rPr>
              <a:t>– SOC, Crisis Response, </a:t>
            </a:r>
            <a:r>
              <a:rPr lang="en-US" sz="1000" dirty="0" err="1" smtClean="0">
                <a:solidFill>
                  <a:srgbClr val="000000"/>
                </a:solidFill>
                <a:latin typeface="Arial"/>
              </a:rPr>
              <a:t>Rin</a:t>
            </a:r>
            <a:r>
              <a:rPr lang="en-US" sz="1000" dirty="0" err="1">
                <a:solidFill>
                  <a:srgbClr val="000000"/>
                </a:solidFill>
                <a:latin typeface="Arial"/>
              </a:rPr>
              <a:t>R</a:t>
            </a:r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828613" y="4299998"/>
            <a:ext cx="10508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Needs/Economic Stability 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IDAs, </a:t>
            </a:r>
            <a:r>
              <a:rPr lang="en-US" sz="100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ical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, Central Navigation, Community Response </a:t>
            </a:r>
            <a:endParaRPr lang="en-US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760037" y="3274123"/>
            <a:ext cx="12708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altLang="en-US" sz="1000" b="1" dirty="0" smtClean="0"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arly Childhood </a:t>
            </a:r>
            <a:r>
              <a:rPr lang="en-US" altLang="en-US" sz="1000" dirty="0" smtClean="0"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xpence, Rooted in Relationships, PIWI, PCIT, Circle of Security - Parenting</a:t>
            </a:r>
            <a:endParaRPr lang="en-US" alt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Oval 103"/>
          <p:cNvSpPr/>
          <p:nvPr/>
        </p:nvSpPr>
        <p:spPr>
          <a:xfrm>
            <a:off x="4106096" y="3089299"/>
            <a:ext cx="1254851" cy="126014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089318" y="3257191"/>
            <a:ext cx="127081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altLang="en-US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chool Aged </a:t>
            </a:r>
            <a:r>
              <a:rPr lang="en-US" alt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Expanded Learning Opportunities, FAST </a:t>
            </a:r>
            <a:endParaRPr lang="en-US" alt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Oval 128"/>
          <p:cNvSpPr/>
          <p:nvPr/>
        </p:nvSpPr>
        <p:spPr>
          <a:xfrm>
            <a:off x="6809918" y="3089299"/>
            <a:ext cx="1536232" cy="22357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Promotive and Protective Factor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 rot="10800000" flipV="1">
            <a:off x="143508" y="1411328"/>
            <a:ext cx="2006838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/>
              </a:rPr>
              <a:t>NC Backbone Support/System functions</a:t>
            </a:r>
          </a:p>
          <a:p>
            <a:pPr algn="ctr"/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pPr algn="ctr"/>
            <a:r>
              <a:rPr lang="en-US" sz="1000" dirty="0" smtClean="0">
                <a:solidFill>
                  <a:srgbClr val="000000"/>
                </a:solidFill>
                <a:latin typeface="Arial"/>
              </a:rPr>
              <a:t>Neutral Convener</a:t>
            </a:r>
          </a:p>
          <a:p>
            <a:pPr algn="ctr"/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pPr algn="ctr"/>
            <a:r>
              <a:rPr lang="en-US" sz="1000" dirty="0" smtClean="0">
                <a:solidFill>
                  <a:srgbClr val="000000"/>
                </a:solidFill>
                <a:latin typeface="Arial"/>
              </a:rPr>
              <a:t>Training and TA</a:t>
            </a:r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pPr algn="ctr"/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pPr algn="ctr"/>
            <a:r>
              <a:rPr lang="en-US" sz="1000" dirty="0" smtClean="0">
                <a:solidFill>
                  <a:srgbClr val="000000"/>
                </a:solidFill>
                <a:latin typeface="Arial"/>
              </a:rPr>
              <a:t>Fidelity/Implementation of Evidence Based Practices </a:t>
            </a:r>
          </a:p>
          <a:p>
            <a:pPr algn="ctr"/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pPr algn="ctr"/>
            <a:r>
              <a:rPr lang="en-US" sz="1000" dirty="0" smtClean="0">
                <a:solidFill>
                  <a:srgbClr val="000000"/>
                </a:solidFill>
                <a:latin typeface="Arial"/>
              </a:rPr>
              <a:t>Data and Evaluation/CQI</a:t>
            </a:r>
          </a:p>
          <a:p>
            <a:pPr algn="ctr"/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pPr algn="ctr"/>
            <a:r>
              <a:rPr lang="en-US" sz="1000" dirty="0" smtClean="0">
                <a:solidFill>
                  <a:srgbClr val="000000"/>
                </a:solidFill>
                <a:latin typeface="Arial"/>
              </a:rPr>
              <a:t>Fund Development/Braiding of </a:t>
            </a:r>
            <a:r>
              <a:rPr lang="en-US" sz="1000" dirty="0" smtClean="0">
                <a:solidFill>
                  <a:srgbClr val="000000"/>
                </a:solidFill>
                <a:latin typeface="Arial"/>
              </a:rPr>
              <a:t>Funds</a:t>
            </a:r>
          </a:p>
          <a:p>
            <a:pPr algn="ctr"/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pPr algn="ctr"/>
            <a:r>
              <a:rPr lang="en-US" sz="1000" dirty="0" smtClean="0">
                <a:solidFill>
                  <a:srgbClr val="000000"/>
                </a:solidFill>
                <a:latin typeface="Arial"/>
              </a:rPr>
              <a:t>Connector to opportunities and funders</a:t>
            </a:r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pPr algn="ctr"/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pPr algn="ctr"/>
            <a:r>
              <a:rPr lang="en-US" sz="1000" dirty="0" smtClean="0">
                <a:solidFill>
                  <a:srgbClr val="000000"/>
                </a:solidFill>
                <a:latin typeface="Arial"/>
              </a:rPr>
              <a:t>Advocacy/Policy</a:t>
            </a:r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pPr algn="ctr"/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pPr algn="ctr"/>
            <a:r>
              <a:rPr lang="en-US" sz="1000" dirty="0" smtClean="0">
                <a:solidFill>
                  <a:srgbClr val="000000"/>
                </a:solidFill>
                <a:latin typeface="Arial"/>
              </a:rPr>
              <a:t>Marketing and Communication</a:t>
            </a:r>
          </a:p>
          <a:p>
            <a:pPr algn="ctr"/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pPr algn="ctr"/>
            <a:r>
              <a:rPr lang="en-US" sz="1000" dirty="0" smtClean="0">
                <a:solidFill>
                  <a:srgbClr val="000000"/>
                </a:solidFill>
                <a:latin typeface="Arial"/>
              </a:rPr>
              <a:t>Youth, Parent and Community Engagement  </a:t>
            </a:r>
          </a:p>
        </p:txBody>
      </p:sp>
      <p:sp>
        <p:nvSpPr>
          <p:cNvPr id="61" name="Oval 60"/>
          <p:cNvSpPr/>
          <p:nvPr/>
        </p:nvSpPr>
        <p:spPr>
          <a:xfrm>
            <a:off x="2280087" y="4324500"/>
            <a:ext cx="1347546" cy="1274436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th and Family Leadership 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Community Café’s Youth Councils</a:t>
            </a:r>
            <a:endParaRPr lang="en-US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16408" y="1797956"/>
            <a:ext cx="30611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/>
              </a:rPr>
              <a:t>Community Collaborative </a:t>
            </a:r>
            <a:endParaRPr lang="en-US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6051876" y="1581024"/>
            <a:ext cx="21273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/>
              </a:rPr>
              <a:t>Protective Factors</a:t>
            </a:r>
            <a:endParaRPr lang="en-US" b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738430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32" grpId="0" animBg="1"/>
      <p:bldP spid="71" grpId="0" animBg="1"/>
      <p:bldP spid="155" grpId="0" animBg="1"/>
      <p:bldP spid="7" grpId="0" animBg="1"/>
      <p:bldP spid="156" grpId="0"/>
      <p:bldP spid="74" grpId="0"/>
      <p:bldP spid="50" grpId="0"/>
      <p:bldP spid="104" grpId="0" animBg="1"/>
      <p:bldP spid="107" grpId="0"/>
      <p:bldP spid="133" grpId="0"/>
      <p:bldP spid="6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aveform">
  <a:themeElements>
    <a:clrScheme name="Waveform">
      <a:dk1>
        <a:sysClr val="windowText" lastClr="000000"/>
      </a:dk1>
      <a:lt1>
        <a:sysClr val="window" lastClr="FFFFFF"/>
      </a:lt1>
      <a:dk2>
        <a:srgbClr val="073E87"/>
      </a:dk2>
      <a:lt2>
        <a:srgbClr val="C6E7FC"/>
      </a:lt2>
      <a:accent1>
        <a:srgbClr val="31B6FD"/>
      </a:accent1>
      <a:accent2>
        <a:srgbClr val="4584D3"/>
      </a:accent2>
      <a:accent3>
        <a:srgbClr val="5BD078"/>
      </a:accent3>
      <a:accent4>
        <a:srgbClr val="A5D028"/>
      </a:accent4>
      <a:accent5>
        <a:srgbClr val="F5C040"/>
      </a:accent5>
      <a:accent6>
        <a:srgbClr val="05E0DB"/>
      </a:accent6>
      <a:hlink>
        <a:srgbClr val="0080FF"/>
      </a:hlink>
      <a:folHlink>
        <a:srgbClr val="5EAEFF"/>
      </a:folHlink>
    </a:clrScheme>
    <a:fontScheme name="Waveform">
      <a:majorFont>
        <a:latin typeface="Candara"/>
        <a:ea typeface=""/>
        <a:cs typeface=""/>
        <a:font script="Jpan" typeface="HGP明朝E"/>
        <a:font script="Hang" typeface="HY그래픽M"/>
        <a:font script="Hans" typeface="华文新魏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ndara"/>
        <a:ea typeface=""/>
        <a:cs typeface=""/>
        <a:font script="Jpan" typeface="HGP明朝E"/>
        <a:font script="Hang" typeface="HY그래픽M"/>
        <a:font script="Hans" typeface="华文楷体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aveform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40000">
              <a:schemeClr val="phClr">
                <a:tint val="94000"/>
                <a:shade val="94000"/>
                <a:alpha val="100000"/>
                <a:satMod val="114000"/>
                <a:lumMod val="114000"/>
              </a:schemeClr>
            </a:gs>
            <a:gs pos="74000">
              <a:schemeClr val="phClr">
                <a:tint val="94000"/>
                <a:shade val="94000"/>
                <a:satMod val="128000"/>
                <a:lumMod val="100000"/>
              </a:schemeClr>
            </a:gs>
            <a:gs pos="100000">
              <a:schemeClr val="phClr">
                <a:tint val="98000"/>
                <a:shade val="100000"/>
                <a:hueMod val="98000"/>
                <a:satMod val="100000"/>
                <a:lumMod val="74000"/>
              </a:schemeClr>
            </a:gs>
          </a:gsLst>
          <a:path path="circle">
            <a:fillToRect l="20000" t="-40000" r="20000" b="14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6000"/>
                <a:satMod val="130000"/>
                <a:lumMod val="50000"/>
              </a:schemeClr>
              <a:schemeClr val="phClr">
                <a:tint val="96000"/>
                <a:satMod val="114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aveform</Template>
  <TotalTime>32012</TotalTime>
  <Words>329</Words>
  <Application>Microsoft Office PowerPoint</Application>
  <PresentationFormat>On-screen Show (4:3)</PresentationFormat>
  <Paragraphs>47</Paragraphs>
  <Slides>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Waveform</vt:lpstr>
      <vt:lpstr>think-cell Slide</vt:lpstr>
      <vt:lpstr>Community Well being Model Definition </vt:lpstr>
      <vt:lpstr> Collective Impact for Community Well Being 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ective Impact</dc:title>
  <dc:creator>Donna</dc:creator>
  <cp:lastModifiedBy>JSkala</cp:lastModifiedBy>
  <cp:revision>81</cp:revision>
  <cp:lastPrinted>2018-09-13T14:39:13Z</cp:lastPrinted>
  <dcterms:created xsi:type="dcterms:W3CDTF">2014-11-04T20:06:55Z</dcterms:created>
  <dcterms:modified xsi:type="dcterms:W3CDTF">2018-09-13T14:57:39Z</dcterms:modified>
</cp:coreProperties>
</file>